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560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umari, Smrti" initials="KS" lastIdx="1" clrIdx="0">
    <p:extLst>
      <p:ext uri="{19B8F6BF-5375-455C-9EA6-DF929625EA0E}">
        <p15:presenceInfo xmlns:p15="http://schemas.microsoft.com/office/powerpoint/2012/main" userId="S::smrti.kumari@capgemini.com::4bac195a-3e82-4ff8-be39-96c89a867f0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AD"/>
    <a:srgbClr val="FAFAFA"/>
    <a:srgbClr val="EBEBEB"/>
    <a:srgbClr val="F9F9F9"/>
    <a:srgbClr val="022B41"/>
    <a:srgbClr val="002639"/>
    <a:srgbClr val="001C29"/>
    <a:srgbClr val="FF6327"/>
    <a:srgbClr val="01D1D0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E421014-41BA-4803-B0DD-E640B6C1AA8B}" v="3" dt="2022-10-28T10:33:50.65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5291" autoAdjust="0"/>
  </p:normalViewPr>
  <p:slideViewPr>
    <p:cSldViewPr>
      <p:cViewPr varScale="1">
        <p:scale>
          <a:sx n="66" d="100"/>
          <a:sy n="66" d="100"/>
        </p:scale>
        <p:origin x="668" y="12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28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, SUBASH" userId="S::subash.n@capgemini.com::1878f98a-dd23-445b-a87f-6f0eaac50133" providerId="AD" clId="Web-{0E421014-41BA-4803-B0DD-E640B6C1AA8B}"/>
    <pc:docChg chg="modSld">
      <pc:chgData name="N, SUBASH" userId="S::subash.n@capgemini.com::1878f98a-dd23-445b-a87f-6f0eaac50133" providerId="AD" clId="Web-{0E421014-41BA-4803-B0DD-E640B6C1AA8B}" dt="2022-10-28T10:33:50.659" v="2"/>
      <pc:docMkLst>
        <pc:docMk/>
      </pc:docMkLst>
      <pc:sldChg chg="delSp">
        <pc:chgData name="N, SUBASH" userId="S::subash.n@capgemini.com::1878f98a-dd23-445b-a87f-6f0eaac50133" providerId="AD" clId="Web-{0E421014-41BA-4803-B0DD-E640B6C1AA8B}" dt="2022-10-28T10:33:50.659" v="2"/>
        <pc:sldMkLst>
          <pc:docMk/>
          <pc:sldMk cId="0" sldId="560"/>
        </pc:sldMkLst>
        <pc:spChg chg="del">
          <ac:chgData name="N, SUBASH" userId="S::subash.n@capgemini.com::1878f98a-dd23-445b-a87f-6f0eaac50133" providerId="AD" clId="Web-{0E421014-41BA-4803-B0DD-E640B6C1AA8B}" dt="2022-10-28T10:33:41.205" v="0"/>
          <ac:spMkLst>
            <pc:docMk/>
            <pc:sldMk cId="0" sldId="560"/>
            <ac:spMk id="7180" creationId="{273FF0AF-5E94-435C-8A2A-7A7CA0FE36A6}"/>
          </ac:spMkLst>
        </pc:spChg>
        <pc:picChg chg="del">
          <ac:chgData name="N, SUBASH" userId="S::subash.n@capgemini.com::1878f98a-dd23-445b-a87f-6f0eaac50133" providerId="AD" clId="Web-{0E421014-41BA-4803-B0DD-E640B6C1AA8B}" dt="2022-10-28T10:33:50.659" v="2"/>
          <ac:picMkLst>
            <pc:docMk/>
            <pc:sldMk cId="0" sldId="560"/>
            <ac:picMk id="7179" creationId="{12618B16-99B6-4F89-A145-C5939A93831F}"/>
          </ac:picMkLst>
        </pc:picChg>
        <pc:picChg chg="del">
          <ac:chgData name="N, SUBASH" userId="S::subash.n@capgemini.com::1878f98a-dd23-445b-a87f-6f0eaac50133" providerId="AD" clId="Web-{0E421014-41BA-4803-B0DD-E640B6C1AA8B}" dt="2022-10-28T10:33:48.049" v="1"/>
          <ac:picMkLst>
            <pc:docMk/>
            <pc:sldMk cId="0" sldId="560"/>
            <ac:picMk id="7181" creationId="{568E79A1-196A-4599-9F1F-AD39B99F1222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03/01/2023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03/01/2023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:a16="http://schemas.microsoft.com/office/drawing/2014/main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:a16="http://schemas.microsoft.com/office/drawing/2014/main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 dirty="0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:a16="http://schemas.microsoft.com/office/drawing/2014/main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:a16="http://schemas.microsoft.com/office/drawing/2014/main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 dirty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1658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9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hyperlink" Target="mailto:subash.n@capgemini.com" TargetMode="External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.jpeg"/><Relationship Id="rId5" Type="http://schemas.openxmlformats.org/officeDocument/2006/relationships/image" Target="../media/image7.png"/><Relationship Id="rId4" Type="http://schemas.openxmlformats.org/officeDocument/2006/relationships/hyperlink" Target="linkedin.com/in/subash-n-641a82181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18">
            <a:extLst>
              <a:ext uri="{FF2B5EF4-FFF2-40B4-BE49-F238E27FC236}">
                <a16:creationId xmlns:a16="http://schemas.microsoft.com/office/drawing/2014/main" id="{4EF0A5D5-CB77-4BCF-86BB-EC8AFA4AA0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727848" y="3146680"/>
            <a:ext cx="4008437" cy="3420641"/>
          </a:xfrm>
        </p:spPr>
        <p:txBody>
          <a:bodyPr/>
          <a:lstStyle/>
          <a:p>
            <a:pPr eaLnBrk="1" hangingPunct="1">
              <a:lnSpc>
                <a:spcPct val="114000"/>
              </a:lnSpc>
            </a:pPr>
            <a:r>
              <a:rPr lang="en-US" altLang="en-US" b="1" dirty="0"/>
              <a:t>Online Sweet Shop</a:t>
            </a:r>
          </a:p>
          <a:p>
            <a:pPr eaLnBrk="1" hangingPunct="1">
              <a:lnSpc>
                <a:spcPct val="114000"/>
              </a:lnSpc>
            </a:pPr>
            <a:r>
              <a:rPr lang="en-IN" altLang="en-US" dirty="0"/>
              <a:t>Completed end to end case study of Online Sweet Shop along with Postman Authentication.</a:t>
            </a:r>
            <a:r>
              <a:rPr lang="en-US" altLang="en-US" dirty="0"/>
              <a:t>Material-UI and React Bootstrap used for user interface.</a:t>
            </a:r>
          </a:p>
          <a:p>
            <a:pPr>
              <a:lnSpc>
                <a:spcPct val="114000"/>
              </a:lnSpc>
            </a:pPr>
            <a:r>
              <a:rPr lang="en-US" altLang="nl-NL" b="1" dirty="0"/>
              <a:t>SENTIMENT ANALYSIS OF BILLING SWEETS</a:t>
            </a:r>
            <a:endParaRPr lang="en-US" altLang="nl-NL" dirty="0"/>
          </a:p>
          <a:p>
            <a:pPr marL="88900" lvl="1" indent="0">
              <a:buNone/>
            </a:pPr>
            <a:r>
              <a:rPr lang="en-US" sz="1000" dirty="0"/>
              <a:t>Where Customers can visit  online sweet shop through online.</a:t>
            </a:r>
          </a:p>
          <a:p>
            <a:pPr marL="88900" lvl="1" indent="0">
              <a:buNone/>
            </a:pPr>
            <a:r>
              <a:rPr lang="en-US" sz="1000" dirty="0"/>
              <a:t>After Adding products to cart ,they can view the bill of </a:t>
            </a:r>
          </a:p>
          <a:p>
            <a:pPr marL="88900" lvl="1" indent="0">
              <a:buNone/>
            </a:pPr>
            <a:r>
              <a:rPr lang="en-US" sz="1000" dirty="0"/>
              <a:t>sweet  products with price .</a:t>
            </a:r>
          </a:p>
          <a:p>
            <a:pPr marL="88900" lvl="1" indent="0">
              <a:buNone/>
            </a:pPr>
            <a:r>
              <a:rPr lang="en-US" sz="1000" dirty="0"/>
              <a:t>They will  be prompted  the payment type</a:t>
            </a:r>
          </a:p>
          <a:p>
            <a:pPr marL="88900" lvl="1" indent="0">
              <a:buNone/>
            </a:pPr>
            <a:r>
              <a:rPr lang="en-US" sz="1000" dirty="0"/>
              <a:t>By selecting the type pf payment </a:t>
            </a:r>
          </a:p>
          <a:p>
            <a:pPr marL="88900" lvl="1" indent="0">
              <a:buNone/>
            </a:pPr>
            <a:r>
              <a:rPr lang="en-US" sz="1000" dirty="0"/>
              <a:t>They can pay  through online Itself</a:t>
            </a:r>
          </a:p>
          <a:p>
            <a:pPr marL="88900" lvl="1" indent="0">
              <a:buNone/>
            </a:pPr>
            <a:br>
              <a:rPr lang="en-US" sz="1000" dirty="0"/>
            </a:br>
            <a:endParaRPr lang="en-US" sz="1000" dirty="0"/>
          </a:p>
          <a:p>
            <a:pPr marL="88900" lvl="1" indent="0">
              <a:buNone/>
            </a:pPr>
            <a:endParaRPr lang="en-US" sz="1000" dirty="0"/>
          </a:p>
          <a:p>
            <a:pPr marL="88900" lvl="1" indent="0">
              <a:buNone/>
            </a:pPr>
            <a:r>
              <a:rPr lang="en-US" sz="1000" dirty="0"/>
              <a:t> </a:t>
            </a:r>
            <a:endParaRPr lang="en-IN" sz="1000" dirty="0"/>
          </a:p>
          <a:p>
            <a:pPr>
              <a:lnSpc>
                <a:spcPct val="114000"/>
              </a:lnSpc>
            </a:pPr>
            <a:endParaRPr lang="en-IN" altLang="nl-NL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br>
              <a:rPr lang="en-US" altLang="nl-NL" dirty="0"/>
            </a:br>
            <a:br>
              <a:rPr lang="en-US" altLang="nl-NL" dirty="0"/>
            </a:br>
            <a:endParaRPr lang="nl-NL" altLang="nl-NL" dirty="0"/>
          </a:p>
        </p:txBody>
      </p:sp>
      <p:sp>
        <p:nvSpPr>
          <p:cNvPr id="7171" name="Text Placeholder 21">
            <a:extLst>
              <a:ext uri="{FF2B5EF4-FFF2-40B4-BE49-F238E27FC236}">
                <a16:creationId xmlns:a16="http://schemas.microsoft.com/office/drawing/2014/main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28082" y="924820"/>
            <a:ext cx="6056312" cy="264797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 dirty="0"/>
              <a:t>Analyst/Software Engineer</a:t>
            </a:r>
          </a:p>
        </p:txBody>
      </p:sp>
      <p:sp>
        <p:nvSpPr>
          <p:cNvPr id="7172" name="Text Placeholder 22">
            <a:extLst>
              <a:ext uri="{FF2B5EF4-FFF2-40B4-BE49-F238E27FC236}">
                <a16:creationId xmlns:a16="http://schemas.microsoft.com/office/drawing/2014/main" id="{994FC039-D8C9-4401-93CE-88467263C8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721100" y="1359187"/>
            <a:ext cx="2374900" cy="295275"/>
          </a:xfrm>
        </p:spPr>
        <p:txBody>
          <a:bodyPr/>
          <a:lstStyle/>
          <a:p>
            <a:pPr eaLnBrk="1" hangingPunct="1"/>
            <a:r>
              <a:rPr lang="nl-NL" altLang="nl-NL" dirty="0"/>
              <a:t>Bangalore</a:t>
            </a:r>
          </a:p>
          <a:p>
            <a:pPr eaLnBrk="1" hangingPunct="1"/>
            <a:endParaRPr lang="nl-NL" altLang="nl-NL" dirty="0"/>
          </a:p>
        </p:txBody>
      </p:sp>
      <p:sp>
        <p:nvSpPr>
          <p:cNvPr id="7173" name="Text Placeholder 24">
            <a:extLst>
              <a:ext uri="{FF2B5EF4-FFF2-40B4-BE49-F238E27FC236}">
                <a16:creationId xmlns:a16="http://schemas.microsoft.com/office/drawing/2014/main" id="{0DF2099D-8FC2-44CE-AB60-E2C2257CB05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73425" y="1571940"/>
            <a:ext cx="2373313" cy="264797"/>
          </a:xfrm>
        </p:spPr>
        <p:txBody>
          <a:bodyPr/>
          <a:lstStyle/>
          <a:p>
            <a:pPr eaLnBrk="1" hangingPunct="1"/>
            <a:r>
              <a:rPr lang="nl-NL" altLang="nl-NL" dirty="0">
                <a:hlinkClick r:id="rId3"/>
              </a:rPr>
              <a:t>Subash.n@capgemini.com</a:t>
            </a:r>
            <a:r>
              <a:rPr lang="nl-NL" altLang="nl-NL" dirty="0"/>
              <a:t> </a:t>
            </a:r>
          </a:p>
        </p:txBody>
      </p:sp>
      <p:sp>
        <p:nvSpPr>
          <p:cNvPr id="7174" name="Text Placeholder 25">
            <a:extLst>
              <a:ext uri="{FF2B5EF4-FFF2-40B4-BE49-F238E27FC236}">
                <a16:creationId xmlns:a16="http://schemas.microsoft.com/office/drawing/2014/main" id="{8B11FF61-9AA9-42E0-800D-B94AC06E095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48038" y="1770063"/>
            <a:ext cx="2382837" cy="330200"/>
          </a:xfrm>
        </p:spPr>
        <p:txBody>
          <a:bodyPr/>
          <a:lstStyle/>
          <a:p>
            <a:pPr eaLnBrk="1" hangingPunct="1"/>
            <a:r>
              <a:rPr lang="nl-NL" altLang="nl-NL" dirty="0"/>
              <a:t>+91 8553044716</a:t>
            </a:r>
          </a:p>
        </p:txBody>
      </p:sp>
      <p:sp>
        <p:nvSpPr>
          <p:cNvPr id="7175" name="Text Placeholder 26">
            <a:extLst>
              <a:ext uri="{FF2B5EF4-FFF2-40B4-BE49-F238E27FC236}">
                <a16:creationId xmlns:a16="http://schemas.microsoft.com/office/drawing/2014/main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0" y="3118859"/>
            <a:ext cx="4539457" cy="3767715"/>
          </a:xfrm>
        </p:spPr>
        <p:txBody>
          <a:bodyPr/>
          <a:lstStyle/>
          <a:p>
            <a:r>
              <a:rPr lang="en-US" altLang="en-US" sz="1100" dirty="0"/>
              <a:t> </a:t>
            </a:r>
            <a:r>
              <a:rPr lang="en-US" altLang="en-US" sz="1100" b="1" dirty="0"/>
              <a:t>Full Stack Develop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Eager to work in a team of dedicated people and serve a key role in the enhancement and development of the project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Has working knowledge on ReactJS , Java Microservice Development using Spring framework on an intermediate level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Software Engineer who is Strong in design and integration with intuitive problem-solving skills. Passionate about implementing and launching new projects</a:t>
            </a:r>
            <a:r>
              <a:rPr lang="en-US" altLang="en-US" sz="1000" dirty="0"/>
              <a:t>.</a:t>
            </a:r>
          </a:p>
          <a:p>
            <a:br>
              <a:rPr lang="en-US" altLang="nl-NL" dirty="0"/>
            </a:br>
            <a:r>
              <a:rPr lang="en-US" altLang="nl-NL" dirty="0"/>
              <a:t>              </a:t>
            </a:r>
            <a:endParaRPr lang="en-US" altLang="nl-NL" sz="1100" b="1" dirty="0">
              <a:solidFill>
                <a:schemeClr val="accent1"/>
              </a:solidFill>
            </a:endParaRPr>
          </a:p>
          <a:p>
            <a:r>
              <a:rPr lang="en-US" altLang="nl-NL" sz="1100" b="1" dirty="0">
                <a:solidFill>
                  <a:schemeClr val="accent1"/>
                </a:solidFill>
              </a:rPr>
              <a:t>             Projects</a:t>
            </a:r>
          </a:p>
          <a:p>
            <a:r>
              <a:rPr lang="en-US" altLang="nl-NL" sz="1100" b="1" dirty="0"/>
              <a:t> Dard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I have worked for Darden project for 4 months as a Backend Developer</a:t>
            </a:r>
            <a:br>
              <a:rPr lang="en-US" altLang="nl-NL" sz="1100" dirty="0"/>
            </a:br>
            <a:r>
              <a:rPr lang="en-US" altLang="nl-NL" sz="1100" dirty="0"/>
              <a:t>                                                                                                                                                                                                                            </a:t>
            </a:r>
          </a:p>
        </p:txBody>
      </p:sp>
      <p:sp>
        <p:nvSpPr>
          <p:cNvPr id="7176" name="TextBox 20">
            <a:extLst>
              <a:ext uri="{FF2B5EF4-FFF2-40B4-BE49-F238E27FC236}">
                <a16:creationId xmlns:a16="http://schemas.microsoft.com/office/drawing/2014/main" id="{943087BE-AA11-4C96-BA02-329B45C19D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05925" y="596900"/>
            <a:ext cx="2717800" cy="610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lvl="0">
              <a:lnSpc>
                <a:spcPct val="114000"/>
              </a:lnSpc>
              <a:defRPr/>
            </a:pPr>
            <a:r>
              <a:rPr lang="en-US" altLang="nl-NL" sz="1000" dirty="0">
                <a:solidFill>
                  <a:prstClr val="black"/>
                </a:solidFill>
                <a:latin typeface="Verdana" panose="020B0604030504040204" pitchFamily="34" charset="0"/>
              </a:rPr>
              <a:t>Bachelor of Engineering </a:t>
            </a:r>
          </a:p>
          <a:p>
            <a:pPr lvl="0">
              <a:lnSpc>
                <a:spcPct val="114000"/>
              </a:lnSpc>
              <a:defRPr/>
            </a:pPr>
            <a:r>
              <a:rPr lang="en-US" altLang="nl-NL" sz="1000" dirty="0">
                <a:solidFill>
                  <a:prstClr val="black"/>
                </a:solidFill>
              </a:rPr>
              <a:t>Computer Science</a:t>
            </a:r>
            <a:r>
              <a:rPr lang="en-US" altLang="nl-NL" sz="1000"/>
              <a:t>: 2017- </a:t>
            </a:r>
            <a:r>
              <a:rPr lang="en-US" altLang="nl-NL" sz="1000" dirty="0"/>
              <a:t>2020</a:t>
            </a:r>
          </a:p>
          <a:p>
            <a:pPr lvl="0">
              <a:lnSpc>
                <a:spcPct val="114000"/>
              </a:lnSpc>
              <a:defRPr/>
            </a:pPr>
            <a:r>
              <a:rPr lang="en-US" altLang="nl-NL" sz="1000" dirty="0"/>
              <a:t>AWS Cloud  Practitioner</a:t>
            </a:r>
          </a:p>
          <a:p>
            <a:pPr eaLnBrk="1" hangingPunct="1">
              <a:lnSpc>
                <a:spcPct val="114000"/>
              </a:lnSpc>
            </a:pPr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altLang="nl-NL" sz="1200" b="1" dirty="0">
                <a:solidFill>
                  <a:srgbClr val="0070AD"/>
                </a:solidFill>
              </a:rPr>
              <a:t>Skills</a:t>
            </a:r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altLang="en-US" sz="1000" dirty="0"/>
              <a:t>Java 8 /J2EE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Spring Boo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Spring MVC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JPA CRUD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Bootstrap</a:t>
            </a:r>
          </a:p>
          <a:p>
            <a:pPr eaLnBrk="1" hangingPunct="1">
              <a:lnSpc>
                <a:spcPct val="114000"/>
              </a:lnSpc>
            </a:pPr>
            <a:endParaRPr lang="en-US" altLang="en-US" sz="1000" b="1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Backend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Spring Boo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Hibernate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REST-API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Database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SQL database – MySQL,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Postgres SQL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Web Technologies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HTML5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CSS3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JavaScrip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Bootstrap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 err="1">
                <a:solidFill>
                  <a:srgbClr val="0070AD"/>
                </a:solidFill>
              </a:rPr>
              <a:t>AddOns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Maven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Postman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Additional Detai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Leadership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Good Communication Skil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Team management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>
                <a:solidFill>
                  <a:srgbClr val="FF0000"/>
                </a:solidFill>
              </a:rPr>
              <a:t> </a:t>
            </a:r>
          </a:p>
        </p:txBody>
      </p:sp>
      <p:pic>
        <p:nvPicPr>
          <p:cNvPr id="7182" name="Picture 4" descr="Free icon download | Linkedin">
            <a:hlinkClick r:id="rId4" action="ppaction://hlinkfile"/>
            <a:extLst>
              <a:ext uri="{FF2B5EF4-FFF2-40B4-BE49-F238E27FC236}">
                <a16:creationId xmlns:a16="http://schemas.microsoft.com/office/drawing/2014/main" id="{89622B52-B834-40D0-9BA5-24EF14F2A6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2662" y="1613142"/>
            <a:ext cx="325438" cy="32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3" name="Text Placeholder 25">
            <a:extLst>
              <a:ext uri="{FF2B5EF4-FFF2-40B4-BE49-F238E27FC236}">
                <a16:creationId xmlns:a16="http://schemas.microsoft.com/office/drawing/2014/main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74988" y="1989138"/>
            <a:ext cx="238125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100">
                <a:solidFill>
                  <a:schemeClr val="bg1"/>
                </a:solidFill>
              </a:rPr>
              <a:t>A4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3B988C9-7F0C-402B-84F7-AA872A7D606E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379008" y="552393"/>
            <a:ext cx="6223654" cy="306703"/>
          </a:xfrm>
        </p:spPr>
        <p:txBody>
          <a:bodyPr/>
          <a:lstStyle/>
          <a:p>
            <a:r>
              <a:rPr lang="en-US" dirty="0"/>
              <a:t>SUBASH N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CB082FDC-453A-A2DC-0447-ECEBB87A89EE}"/>
              </a:ext>
            </a:extLst>
          </p:cNvPr>
          <p:cNvPicPr>
            <a:picLocks noGrp="1" noChangeAspect="1"/>
          </p:cNvPicPr>
          <p:nvPr>
            <p:ph type="pic" sz="quarter" idx="46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36" b="9336"/>
          <a:stretch>
            <a:fillRect/>
          </a:stretch>
        </p:blipFill>
        <p:spPr>
          <a:xfrm>
            <a:off x="341095" y="234314"/>
            <a:ext cx="1799966" cy="1735628"/>
          </a:xfrm>
        </p:spPr>
      </p:pic>
      <p:pic>
        <p:nvPicPr>
          <p:cNvPr id="3" name="Graphic 2" descr="Programmer male with solid fill">
            <a:extLst>
              <a:ext uri="{FF2B5EF4-FFF2-40B4-BE49-F238E27FC236}">
                <a16:creationId xmlns:a16="http://schemas.microsoft.com/office/drawing/2014/main" id="{D15FAFFB-1586-46A5-95DE-C93C55F54E6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39799" y="5229200"/>
            <a:ext cx="735199" cy="833936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02ACB8F81EC8489A4DF17045E90748" ma:contentTypeVersion="7" ma:contentTypeDescription="Create a new document." ma:contentTypeScope="" ma:versionID="14eca6baf0dc776edd3b59ffa3a025ba">
  <xsd:schema xmlns:xsd="http://www.w3.org/2001/XMLSchema" xmlns:xs="http://www.w3.org/2001/XMLSchema" xmlns:p="http://schemas.microsoft.com/office/2006/metadata/properties" xmlns:ns3="fd33c62d-2c11-46e7-88a2-e90fa986d9d0" xmlns:ns4="47da6acf-edf2-43bc-9595-f721a214a14e" targetNamespace="http://schemas.microsoft.com/office/2006/metadata/properties" ma:root="true" ma:fieldsID="5aa4caa8a8c18e5332c88e7cf95cf085" ns3:_="" ns4:_="">
    <xsd:import namespace="fd33c62d-2c11-46e7-88a2-e90fa986d9d0"/>
    <xsd:import namespace="47da6acf-edf2-43bc-9595-f721a214a14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33c62d-2c11-46e7-88a2-e90fa986d9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da6acf-edf2-43bc-9595-f721a214a14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2EFE742-3A8E-4E5A-B843-9354826E5980}">
  <ds:schemaRefs>
    <ds:schemaRef ds:uri="http://schemas.openxmlformats.org/package/2006/metadata/core-properties"/>
    <ds:schemaRef ds:uri="http://www.w3.org/XML/1998/namespace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fd33c62d-2c11-46e7-88a2-e90fa986d9d0"/>
    <ds:schemaRef ds:uri="47da6acf-edf2-43bc-9595-f721a214a14e"/>
    <ds:schemaRef ds:uri="http://purl.org/dc/dcmitype/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E4D25D96-23E3-4774-8182-19BEEAF42C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33c62d-2c11-46e7-88a2-e90fa986d9d0"/>
    <ds:schemaRef ds:uri="47da6acf-edf2-43bc-9595-f721a214a1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6B5E10D-1A37-4C30-B41B-C15D0561998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TotalTime>41970</TotalTime>
  <Words>243</Words>
  <Application>Microsoft Office PowerPoint</Application>
  <PresentationFormat>Widescreen</PresentationFormat>
  <Paragraphs>8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Verdana</vt:lpstr>
      <vt:lpstr>Wingdings</vt:lpstr>
      <vt:lpstr>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Kuzhivelil, Jose</dc:creator>
  <cp:lastModifiedBy>N, SUBASH</cp:lastModifiedBy>
  <cp:revision>128</cp:revision>
  <dcterms:created xsi:type="dcterms:W3CDTF">2017-12-08T05:27:40Z</dcterms:created>
  <dcterms:modified xsi:type="dcterms:W3CDTF">2023-01-03T07:00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02ACB8F81EC8489A4DF17045E90748</vt:lpwstr>
  </property>
</Properties>
</file>